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94" r:id="rId3"/>
    <p:sldMasterId id="2147483726" r:id="rId4"/>
    <p:sldMasterId id="2147483748" r:id="rId5"/>
    <p:sldMasterId id="2147483752" r:id="rId6"/>
    <p:sldMasterId id="2147483767" r:id="rId7"/>
    <p:sldMasterId id="2147483779" r:id="rId8"/>
  </p:sldMasterIdLst>
  <p:notesMasterIdLst>
    <p:notesMasterId r:id="rId19"/>
  </p:notesMasterIdLst>
  <p:sldIdLst>
    <p:sldId id="378" r:id="rId9"/>
    <p:sldId id="473" r:id="rId10"/>
    <p:sldId id="268" r:id="rId11"/>
    <p:sldId id="472" r:id="rId12"/>
    <p:sldId id="261" r:id="rId13"/>
    <p:sldId id="262" r:id="rId14"/>
    <p:sldId id="263" r:id="rId15"/>
    <p:sldId id="264" r:id="rId16"/>
    <p:sldId id="266" r:id="rId17"/>
    <p:sldId id="267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3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65252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118014230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3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3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888595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72844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4B8353-B785-4880-9812-502946E62F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E4644F3C-C16D-4EEC-8157-37E62D8CE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BE6EE283-0BB1-41FD-8619-0E735FEC62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84CC92F5-9860-4F98-90EF-A7E08D94A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587C4840-B037-49E6-8772-EE5C6856D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75169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5BA6CA-4E54-4FA5-94CF-7C1B9D0B1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752886F0-97F0-41EF-AF79-941B6BE90F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E61820E8-3339-4E5B-AA1F-5D42D7EC5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3797FE0-F987-4BB0-9D85-EA0B2B0AC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CCF6EE67-B56F-41AE-B670-7E4A62EF2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806794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0C8244-B05B-4FDF-AE79-687A21F1A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0F4BBD8C-B3B9-428F-B14D-5CEF39612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D17B0CF-1083-450B-8FD1-DFB464E0C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0217FDB-3B26-4A1B-9218-E22EE5A6C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42400A73-7C53-4FD6-AB4D-4E8773734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66112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96ADA2-DB79-4EF0-886C-95C53CB76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D525B3F1-373D-44FB-9E25-DF3723C2C5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FB62B5F5-5CFA-41A0-80F1-704D778C9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537171E-74BC-4602-A4FF-C706BA180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AFC118F3-99D0-4F7F-A488-66DF78D40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8E606F02-9A59-4EE8-820B-A66336C2D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88603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9B7CB1-B047-46C0-BF84-AD8221DDD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51C24AA4-0708-48B4-B573-57DC92D236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2C168BBF-424E-49E6-B70E-3B69DD48D5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E45C4262-2434-4807-AA4F-AC0F29F07C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B851FB8E-C189-4B3A-9B4C-5D0E54D5C2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D32E181C-D1DF-43DA-8AC2-7D2B1B5CD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6DA93058-B0B0-4900-83E8-6A3B3F870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18742799-8BEA-4765-8BCB-75338B855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148589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473AB7-3F61-44FD-A732-0B85DACEA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945C9E95-F51C-43A9-B007-E79901B38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61F40178-F42A-4015-925F-D73834E98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DA6FF828-03F0-4790-8375-E31BBC161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02973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D1BB2F89-49FA-4EC8-84C5-87409565F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A116C271-3499-4B2C-856B-DD649EE50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871C5D30-9392-44E3-9831-17DC5522F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708278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C915C8-25EB-48AB-935F-56B3CAD9F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6E655996-D6B0-466D-8C80-0250497690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F0352098-1025-43B2-AADD-11D508FD01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C92DE1C-579F-463A-B4F6-767F6E5E2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B71EF234-374B-444B-A842-65C26E70C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F529B64F-E41B-4D75-AC60-81920A6A7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66967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7D4DB-C617-4ADB-A20C-289C23093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6130A611-F5A3-4A13-99C5-915D028EEB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9997D961-FA13-4D2B-A6C2-F40B8A6FA1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D3CA794B-0520-49E1-89FD-A6F71B3AA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5313DF1F-92EB-458C-81C8-113D0EFB4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4A50E00A-BEBB-4C6E-8869-D4D72EE36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76767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301F62-6F7E-41CF-819E-014C15CD8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7ABD685E-AD30-4E57-B103-95D49D4693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19A42D8-1099-4113-9105-ADDDA397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92E380FB-B3B3-4DA4-8BF9-F8A33157C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538CE927-C350-430F-AE90-DB589973F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119736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7A529955-D25E-44E5-B70F-0FD6F74851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AC23E041-306E-4DF7-B1F9-4C5082CC54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34629E9E-6FA5-46E7-9ECF-57B664964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0294E2FF-B44A-409B-B766-40095F7D5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B201F04-EBAB-440E-98AA-FF9FFA049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535525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ADDAA-FECB-479F-B06E-18434AC33F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050798-CFD7-478C-86C3-D487CFAD9F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4F4EA4-0605-4901-BC24-5FC179571F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7EA38-4BDE-4607-AB19-F42983F6F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7C63FB-1BD3-4DD9-A9B0-F5B9FCCB1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70027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F1B0C-7A20-40FF-A21A-E30B0D674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D8C9D-9134-4898-A755-6CDC36DC5E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85E5C8-C02C-4C6D-A287-AD382BC8F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EC61C-89BD-46C6-B8B0-2BC678CDF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F3FB8F-0AFA-470C-B718-C2BE741E7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8395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719112326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39203-B87E-4BAF-B2AE-66DFD4EFB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EF34B8-45A7-402B-9A8C-55E8B44580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C44DD0-3619-420B-93D2-EC367BB35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8243C-3C90-48FB-AE3E-1540CAC81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A5DC93-1AF2-42C4-B109-E509FB684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782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22B91-EC17-49A4-9CB5-5AEF7F880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8DAF5-749C-45A7-9B25-4F94F335BD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BDA436-7589-4E1B-B384-0BC5909704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9AB40A-1875-4F73-A849-C7D41D8CB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05C086-0E98-4508-A518-3E65229A3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089F8A-6124-4AB5-8324-45FEF3CF4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246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8514B-96AF-4689-B3C5-94FCBC9B6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3EB4C8-19F1-4A79-9EA2-E14874A194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CD7DFC-6BE1-4014-B46B-ABD91BECE8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A5F83B-65A1-454B-A612-6A3B51B6B8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F47A1A-58B4-4E0D-885B-4F3B8D29D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92D567-8275-4E4B-80D6-8BC301156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2B5020-1BC5-4999-BD7C-F42D52DC4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9189C8-C4EC-4352-A4BA-28E90C6B4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4070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FCF85-CE99-4167-A3B3-1BAB51C89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92C62D-10DE-4BBD-A9E2-CF55FD463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0CA245-FC88-4F12-A0CF-C73D56F01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85DC11-C80C-4B14-939C-0F2E9CB0C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498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749183-8E3D-4E87-92AF-4FD2330ED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3F390C-5170-4CB1-AE4D-58BABD4AF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BD2488-ED0A-4669-9AA9-93D6E24AF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748793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53A81-361D-4DC4-B737-30998F7F9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47943A-8BD9-477F-984B-AC422219BE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DB8BCE-8E55-4B4D-A926-7B6139C272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22707A-0DAF-4F2D-9CAC-48D48EC23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671556-5FAA-490E-91D0-262249CA8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1913D5-3E52-4227-9EAC-D8D4456D0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3819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05A5A-F753-41E0-A0FB-6AB33FE99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033D01-19C9-47E0-B669-62955F1AA4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BDB62A-3053-4471-AC7C-99A2402939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B83D99-E562-4455-9689-1BACB79F3E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C0943B-0557-4541-8BEF-47E5D3B3C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6B6BE2-CB46-4253-A123-ABC8ECB32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972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68012E-36FC-48ED-948A-BC3C1DB6F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873FB5-C9C6-417F-BAF1-1B70A82C54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CAD9E-6DD8-4687-93AE-026FA5B56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5BB734-3245-4EAA-AC53-D32ADCCEF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F530A-1D92-405B-9297-868E748F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7906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5D382ED-8249-4038-87EA-6D1DD8B1EB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3530F3-2918-49B4-8D87-3E29ADA39D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484A0F-38DC-4B9F-9705-3B6615E8D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10FD57-B707-45FD-99AE-8CEA85F02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E135E-7665-4BD5-BEBC-BF8D7D07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2400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65.xml"/><Relationship Id="rId20" Type="http://schemas.openxmlformats.org/officeDocument/2006/relationships/image" Target="../media/image15.tif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tags" Target="../tags/tag74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7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3.jpe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8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73.xml"/><Relationship Id="rId19" Type="http://schemas.openxmlformats.org/officeDocument/2006/relationships/image" Target="../media/image15.tiff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">
                  <p:embed/>
                </p:oleObj>
              </mc:Choice>
              <mc:Fallback>
                <p:oleObj name="think-cell Slide" r:id="rId60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6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" action="ppaction://noaction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4" r:id="rId17"/>
    <p:sldLayoutId id="2147483745" r:id="rId18"/>
    <p:sldLayoutId id="2147483746" r:id="rId19"/>
    <p:sldLayoutId id="2147483747" r:id="rId20"/>
    <p:sldLayoutId id="2147483688" r:id="rId21"/>
    <p:sldLayoutId id="2147483690" r:id="rId22"/>
    <p:sldLayoutId id="2147483692" r:id="rId2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" action="ppaction://noaction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1E9B9725-A664-4D6A-9A6C-7E85A9E26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C9E12BFA-1BDC-4262-9377-57BD5E731C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3A7918EE-7BF4-4474-A3BA-D9808EC96A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5A6986-E340-43A5-9FEC-F6BEC8D6F268}" type="datetimeFigureOut">
              <a:rPr lang="uk-UA" smtClean="0"/>
              <a:t>13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CCDB8B24-3974-4C8F-BF0D-4041F186D5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3639B0D8-E6BB-4341-827A-2A1D97051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A1BF09-AE17-49A2-AF6B-0F0DF16612EB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8202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8A301B-0B0E-43DD-8A75-1E3FB1EF9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C062F5-DCF9-47D8-B9B0-93EAF9A7C9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D0231A-CF6B-4024-A178-E3224B94B1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406940-72C2-48CB-8477-21D92E6ED5A1}" type="datetimeFigureOut">
              <a:rPr lang="ru-RU" smtClean="0"/>
              <a:t>13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0CDBB9-DE4E-47E5-B5B5-B93AB792CF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D7AE0A-B339-44CC-A484-714D8F3BEB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00AA4-0071-4751-B302-9AD40B16CF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521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rj.ersjournals.com/content/46/4/903" TargetMode="External"/><Relationship Id="rId2" Type="http://schemas.openxmlformats.org/officeDocument/2006/relationships/hyperlink" Target="https://academic.oup.com/eurheartj/article/37/1/67/2887599" TargetMode="External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1250074" y="1774589"/>
            <a:ext cx="9299526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 algn="ctr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ldhabi" panose="020B0604020202020204" pitchFamily="2" charset="-78"/>
              </a:rPr>
              <a:t>Протокола лечения по ЛАГ</a:t>
            </a:r>
            <a:endParaRPr lang="ru-RU" sz="4000" b="1" i="1" dirty="0">
              <a:solidFill>
                <a:srgbClr val="002060"/>
              </a:solidFill>
              <a:latin typeface="Museo Sans Cyrl 100" panose="02000000000000000000" pitchFamily="2" charset="-52"/>
              <a:cs typeface="Aldhabi" panose="020B0604020202020204" pitchFamily="2" charset="-7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63041" y="0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6016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58268" y="6231322"/>
            <a:ext cx="21836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P-242218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158268" y="6231322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9FBD4E3-6D8D-4E5F-84AE-F6EBA3F575FA}"/>
              </a:ext>
            </a:extLst>
          </p:cNvPr>
          <p:cNvSpPr txBox="1">
            <a:spLocks/>
          </p:cNvSpPr>
          <p:nvPr/>
        </p:nvSpPr>
        <p:spPr bwMode="auto">
          <a:xfrm>
            <a:off x="314306" y="378372"/>
            <a:ext cx="11617281" cy="83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Рекомендации по эффективности последовательной лекарственной комбинированной терапии</a:t>
            </a:r>
            <a:r>
              <a:rPr kumimoji="0" lang="en-GB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ЛАГ</a:t>
            </a:r>
            <a:r>
              <a:rPr kumimoji="0" lang="en-GB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в зависимости от</a:t>
            </a:r>
            <a:r>
              <a:rPr kumimoji="0" lang="en-GB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ФК по ВОЗ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charset="0"/>
              <a:ea typeface="MS PGothic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D795EE-D6D0-4812-BA5C-B7648B274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02" y="6530975"/>
            <a:ext cx="7875587" cy="26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25000"/>
              </a:lnSpc>
              <a:spcBef>
                <a:spcPct val="45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Heart J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2016;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Respi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J 20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MS PGothic" charset="0"/>
              <a:cs typeface="Arial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54B256B-74D5-477C-9C39-B9C4B1C9CC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38746"/>
              </p:ext>
            </p:extLst>
          </p:nvPr>
        </p:nvGraphicFramePr>
        <p:xfrm>
          <a:off x="1409701" y="1247775"/>
          <a:ext cx="9267821" cy="5219702"/>
        </p:xfrm>
        <a:graphic>
          <a:graphicData uri="http://schemas.openxmlformats.org/drawingml/2006/table">
            <a:tbl>
              <a:tblPr/>
              <a:tblGrid>
                <a:gridCol w="3960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46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426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Измерение/лечение</a:t>
                      </a:r>
                      <a:endParaRPr kumimoji="0" lang="en-GB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Класс</a:t>
                      </a:r>
                      <a:r>
                        <a:rPr lang="de-CH" sz="1200" b="1" baseline="30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й-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уровень доказательности</a:t>
                      </a:r>
                      <a:endParaRPr lang="de-CH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26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200" b="1" dirty="0">
                          <a:solidFill>
                            <a:schemeClr val="bg1"/>
                          </a:solidFill>
                        </a:rPr>
                        <a:t> II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200" b="1" dirty="0">
                          <a:solidFill>
                            <a:schemeClr val="bg1"/>
                          </a:solidFill>
                        </a:rPr>
                        <a:t> III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200" b="1" dirty="0">
                          <a:solidFill>
                            <a:schemeClr val="bg1"/>
                          </a:solidFill>
                        </a:rPr>
                        <a:t> IV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Мацитентан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у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*</a:t>
                      </a: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Риоцигуат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елексипаг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**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 добавление к  АРЭ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/или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ФДЭ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-5*</a:t>
                      </a: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эпопростенол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-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-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 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3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Трепростинил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нгаляц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у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ли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лопрост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нгаляц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 добавление к 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Тадалафил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a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Амбризентан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эпопростенол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-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-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у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ие двойные комбинации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ие тройные комбинации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/>
                        <a:t>IIb</a:t>
                      </a:r>
                      <a:endParaRPr lang="en-GB" sz="1200" dirty="0"/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C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43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Риоцигуат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в добавление к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у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или другому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ФДЭ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-5</a:t>
                      </a:r>
                    </a:p>
                  </a:txBody>
                  <a:tcPr marL="72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I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I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III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/>
                        <a:t>B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63226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*</a:t>
                      </a: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Время до клинического ухудшения как первичной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</a:rPr>
                        <a:t> конечной точки в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РКИ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</a:rPr>
                        <a:t> ,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или лекарственные средства,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</a:rPr>
                        <a:t> показавшие снижение смертности от всех причин</a:t>
                      </a: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(</a:t>
                      </a: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определенное </a:t>
                      </a:r>
                      <a:r>
                        <a:rPr kumimoji="0" lang="ru-R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проспективным</a:t>
                      </a: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путем</a:t>
                      </a: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)</a:t>
                      </a: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.</a:t>
                      </a:r>
                      <a:r>
                        <a:rPr kumimoji="0" lang="en-GB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**</a:t>
                      </a: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Этот препарат не зарегистрирован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 EMA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на момент публикации данного руководства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.</a:t>
                      </a:r>
                      <a:endParaRPr kumimoji="0" lang="en-GB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18000" marR="18000" marT="18000" marB="18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8834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FF0F6-0C2F-4065-B850-0088EEF1ED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2017787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chemeClr val="bg2"/>
                </a:solidFill>
              </a:rPr>
              <a:t>Клинический протокол</a:t>
            </a:r>
            <a:br>
              <a:rPr lang="en-US" dirty="0">
                <a:solidFill>
                  <a:schemeClr val="bg2"/>
                </a:solidFill>
              </a:rPr>
            </a:br>
            <a:br>
              <a:rPr lang="en-US" dirty="0">
                <a:solidFill>
                  <a:schemeClr val="bg2"/>
                </a:solidFill>
              </a:rPr>
            </a:br>
            <a:r>
              <a:rPr lang="ru-RU" dirty="0">
                <a:solidFill>
                  <a:schemeClr val="bg2"/>
                </a:solidFill>
              </a:rPr>
              <a:t> диагностики и лечения. Легочная</a:t>
            </a:r>
            <a:br>
              <a:rPr lang="en-US" dirty="0">
                <a:solidFill>
                  <a:schemeClr val="bg2"/>
                </a:solidFill>
              </a:rPr>
            </a:br>
            <a:br>
              <a:rPr lang="en-US" dirty="0">
                <a:solidFill>
                  <a:schemeClr val="bg2"/>
                </a:solidFill>
              </a:rPr>
            </a:br>
            <a:r>
              <a:rPr lang="ru-RU" dirty="0">
                <a:solidFill>
                  <a:schemeClr val="bg2"/>
                </a:solidFill>
              </a:rPr>
              <a:t> гипертензия. Казахстан 201</a:t>
            </a:r>
            <a:r>
              <a:rPr lang="en-US" dirty="0">
                <a:solidFill>
                  <a:schemeClr val="bg2"/>
                </a:solidFill>
              </a:rPr>
              <a:t>9</a:t>
            </a:r>
            <a:r>
              <a:rPr lang="ru-RU" dirty="0">
                <a:solidFill>
                  <a:schemeClr val="bg2"/>
                </a:solidFill>
              </a:rPr>
              <a:t> </a:t>
            </a:r>
            <a:br>
              <a:rPr lang="ru-RU" dirty="0">
                <a:solidFill>
                  <a:schemeClr val="bg2"/>
                </a:solidFill>
              </a:rPr>
            </a:br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450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F003A4-7080-4F47-9D91-66BCA4A91216}"/>
              </a:ext>
            </a:extLst>
          </p:cNvPr>
          <p:cNvSpPr txBox="1">
            <a:spLocks/>
          </p:cNvSpPr>
          <p:nvPr/>
        </p:nvSpPr>
        <p:spPr>
          <a:xfrm>
            <a:off x="3444099" y="44624"/>
            <a:ext cx="7893925" cy="50405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</a:b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Схема лечения легочной артериальной гипертензии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169E5-3E4F-486C-916D-79F950F47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980728"/>
            <a:ext cx="10879455" cy="559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Объект 2">
            <a:extLst>
              <a:ext uri="{FF2B5EF4-FFF2-40B4-BE49-F238E27FC236}">
                <a16:creationId xmlns:a16="http://schemas.microsoft.com/office/drawing/2014/main" id="{B3A0EE8F-2C85-46A7-A5EF-0429F31577A3}"/>
              </a:ext>
            </a:extLst>
          </p:cNvPr>
          <p:cNvSpPr txBox="1">
            <a:spLocks/>
          </p:cNvSpPr>
          <p:nvPr/>
        </p:nvSpPr>
        <p:spPr bwMode="auto">
          <a:xfrm>
            <a:off x="6877050" y="6577978"/>
            <a:ext cx="5581650" cy="362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213D"/>
                </a:solidFill>
                <a:latin typeface="Segoe UI" panose="020B0502040204020203" pitchFamily="34" charset="0"/>
              </a:defRPr>
            </a:lvl1pPr>
            <a:lvl2pPr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rgbClr val="00213D"/>
                </a:solidFill>
                <a:latin typeface="Segoe UI" panose="020B0502040204020203" pitchFamily="34" charset="0"/>
              </a:defRPr>
            </a:lvl2pPr>
            <a:lvl3pPr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13D"/>
                </a:solidFill>
                <a:latin typeface="Segoe UI" panose="020B0502040204020203" pitchFamily="34" charset="0"/>
              </a:defRPr>
            </a:lvl3pPr>
            <a:lvl4pPr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4pPr>
            <a:lvl5pPr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5pPr>
            <a:lvl6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6pPr>
            <a:lvl7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7pPr>
            <a:lvl8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8pPr>
            <a:lvl9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Клинический протокол диагностики и лечения. Легочная гипертензия.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Казахстан 20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19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8465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2BC8EF-514B-4F62-B98D-C11A52D7AB5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3533" y="223520"/>
            <a:ext cx="10905067" cy="6543040"/>
          </a:xfrm>
          <a:prstGeom prst="rect">
            <a:avLst/>
          </a:prstGeom>
          <a:noFill/>
        </p:spPr>
      </p:pic>
      <p:sp>
        <p:nvSpPr>
          <p:cNvPr id="8" name="Объект 2">
            <a:extLst>
              <a:ext uri="{FF2B5EF4-FFF2-40B4-BE49-F238E27FC236}">
                <a16:creationId xmlns:a16="http://schemas.microsoft.com/office/drawing/2014/main" id="{478BE0A6-86A9-44EC-8A65-49BA79104B48}"/>
              </a:ext>
            </a:extLst>
          </p:cNvPr>
          <p:cNvSpPr txBox="1">
            <a:spLocks/>
          </p:cNvSpPr>
          <p:nvPr/>
        </p:nvSpPr>
        <p:spPr bwMode="auto">
          <a:xfrm>
            <a:off x="6877050" y="6577978"/>
            <a:ext cx="5581650" cy="362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213D"/>
                </a:solidFill>
                <a:latin typeface="Segoe UI" panose="020B0502040204020203" pitchFamily="34" charset="0"/>
              </a:defRPr>
            </a:lvl1pPr>
            <a:lvl2pPr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rgbClr val="00213D"/>
                </a:solidFill>
                <a:latin typeface="Segoe UI" panose="020B0502040204020203" pitchFamily="34" charset="0"/>
              </a:defRPr>
            </a:lvl2pPr>
            <a:lvl3pPr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13D"/>
                </a:solidFill>
                <a:latin typeface="Segoe UI" panose="020B0502040204020203" pitchFamily="34" charset="0"/>
              </a:defRPr>
            </a:lvl3pPr>
            <a:lvl4pPr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4pPr>
            <a:lvl5pPr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5pPr>
            <a:lvl6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6pPr>
            <a:lvl7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7pPr>
            <a:lvl8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8pPr>
            <a:lvl9pPr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213D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Клинический протокол диагностики и лечения. Легочная гипертензия.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Казахстан 201</a:t>
            </a:r>
            <a:r>
              <a: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9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9346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9C27ABE-9FD6-43C7-B2B7-BD6428A093BD}"/>
              </a:ext>
            </a:extLst>
          </p:cNvPr>
          <p:cNvSpPr txBox="1">
            <a:spLocks noChangeArrowheads="1"/>
          </p:cNvSpPr>
          <p:nvPr/>
        </p:nvSpPr>
        <p:spPr>
          <a:xfrm>
            <a:off x="415401" y="133350"/>
            <a:ext cx="11361198" cy="7415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charset="0"/>
                <a:ea typeface="MS PGothic" charset="0"/>
                <a:cs typeface="+mj-cs"/>
              </a:rPr>
              <a:t>Европейское руководство по терапии</a:t>
            </a:r>
            <a:r>
              <a: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charset="0"/>
                <a:ea typeface="MS PGothic" charset="0"/>
                <a:cs typeface="+mj-cs"/>
              </a:rPr>
              <a:t> </a:t>
            </a: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charset="0"/>
                <a:ea typeface="MS PGothic" charset="0"/>
                <a:cs typeface="+mj-cs"/>
              </a:rPr>
              <a:t>ЛАГ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charset="0"/>
              <a:ea typeface="MS PGothic" charset="0"/>
              <a:cs typeface="+mj-cs"/>
            </a:endParaRPr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27FEB67E-066E-40F1-9B97-6B1F05EA91AB}"/>
              </a:ext>
            </a:extLst>
          </p:cNvPr>
          <p:cNvSpPr txBox="1">
            <a:spLocks noChangeArrowheads="1"/>
          </p:cNvSpPr>
          <p:nvPr/>
        </p:nvSpPr>
        <p:spPr>
          <a:xfrm>
            <a:off x="1445011" y="1709753"/>
            <a:ext cx="8906352" cy="50148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Руководство по диагностике и терапии легочной гипертензии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Рабочей группы по диагностике и терапии легочной гипертензии Европейского общества кардиолого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(ESC)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и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Европейского респираторного общества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(ERS)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одобренное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Европейской ассоциацией по педиатрической кардиологии и врожденным порокам сердца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(AEPC)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и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Международным обществом по трансплантации сердца и легких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(ISHLT)</a:t>
            </a: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Gali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è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N et al. </a:t>
            </a:r>
            <a:r>
              <a:rPr kumimoji="0" lang="en-GB" sz="2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en-GB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Heart J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2016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- </a:t>
            </a: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academic.oup.com/eurheartj/article/37/1/67/2887599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Galiè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et al. </a:t>
            </a:r>
            <a:r>
              <a:rPr kumimoji="0" lang="fr-FR" sz="2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Eur</a:t>
            </a: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</a:t>
            </a:r>
            <a:r>
              <a:rPr kumimoji="0" lang="fr-FR" sz="2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Respir</a:t>
            </a: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 J 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  <a:cs typeface="+mn-cs"/>
              </a:rPr>
              <a:t>2015;46:903–75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https://erj.ersjournals.com/content/46/4/903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924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E50A181-4EAD-484F-85B6-8DD33FA23738}"/>
              </a:ext>
            </a:extLst>
          </p:cNvPr>
          <p:cNvSpPr txBox="1">
            <a:spLocks/>
          </p:cNvSpPr>
          <p:nvPr/>
        </p:nvSpPr>
        <p:spPr bwMode="auto">
          <a:xfrm>
            <a:off x="1668469" y="205815"/>
            <a:ext cx="9330963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Уровень доказательности и класс рекомендаций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charset="0"/>
              <a:ea typeface="MS PGothic" charset="0"/>
            </a:endParaRPr>
          </a:p>
        </p:txBody>
      </p:sp>
      <p:graphicFrame>
        <p:nvGraphicFramePr>
          <p:cNvPr id="8" name="Table Placeholder 4">
            <a:extLst>
              <a:ext uri="{FF2B5EF4-FFF2-40B4-BE49-F238E27FC236}">
                <a16:creationId xmlns:a16="http://schemas.microsoft.com/office/drawing/2014/main" id="{FFB7FFD9-EC9F-47E5-A82A-AFD4A4E67D48}"/>
              </a:ext>
            </a:extLst>
          </p:cNvPr>
          <p:cNvGraphicFramePr>
            <a:graphicFrameLocks/>
          </p:cNvGraphicFramePr>
          <p:nvPr/>
        </p:nvGraphicFramePr>
        <p:xfrm>
          <a:off x="1478045" y="1173854"/>
          <a:ext cx="9681186" cy="1579773"/>
        </p:xfrm>
        <a:graphic>
          <a:graphicData uri="http://schemas.openxmlformats.org/drawingml/2006/table">
            <a:tbl>
              <a:tblPr firstRow="1" bandRow="1"/>
              <a:tblGrid>
                <a:gridCol w="2497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83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7969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Уровни доказательности для эффективности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Уровень доказательности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A</a:t>
                      </a: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анные получены в  ряде рандомизированных клинических исследований или в </a:t>
                      </a:r>
                      <a:r>
                        <a:rPr kumimoji="0" lang="ru-RU" sz="12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мета-анализах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7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Уровень доказательности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B</a:t>
                      </a: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анные получены в единственном рандомизированном клиническом исследовании или в крупных </a:t>
                      </a:r>
                      <a:r>
                        <a:rPr kumimoji="0" lang="ru-RU" sz="12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нерандомизированных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исследованиях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Уровень доказательности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C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Согласованное мнение экспертов и/или небольшие исследования, ретроспективные исследования, регистры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0" marB="4570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FA03C23-766A-4EBC-87D2-78DF2D1B39B0}"/>
              </a:ext>
            </a:extLst>
          </p:cNvPr>
          <p:cNvSpPr txBox="1">
            <a:spLocks/>
          </p:cNvSpPr>
          <p:nvPr/>
        </p:nvSpPr>
        <p:spPr bwMode="auto">
          <a:xfrm>
            <a:off x="1162974" y="6506330"/>
            <a:ext cx="9144000" cy="263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100" kern="1200">
                <a:solidFill>
                  <a:srgbClr val="73410F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sz="1600" kern="1200">
                <a:solidFill>
                  <a:srgbClr val="0C2074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10" name="Table Placeholder 4">
            <a:extLst>
              <a:ext uri="{FF2B5EF4-FFF2-40B4-BE49-F238E27FC236}">
                <a16:creationId xmlns:a16="http://schemas.microsoft.com/office/drawing/2014/main" id="{EB29FB87-813A-4EF8-98AA-D34F2615B94D}"/>
              </a:ext>
            </a:extLst>
          </p:cNvPr>
          <p:cNvGraphicFramePr>
            <a:graphicFrameLocks/>
          </p:cNvGraphicFramePr>
          <p:nvPr/>
        </p:nvGraphicFramePr>
        <p:xfrm>
          <a:off x="1465168" y="2925604"/>
          <a:ext cx="9681187" cy="2791223"/>
        </p:xfrm>
        <a:graphic>
          <a:graphicData uri="http://schemas.openxmlformats.org/drawingml/2006/table">
            <a:tbl>
              <a:tblPr firstRow="1" bandRow="1"/>
              <a:tblGrid>
                <a:gridCol w="1775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988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63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7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ы рекомендаций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kumimoji="0" lang="ru-RU" sz="14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ение</a:t>
                      </a:r>
                      <a:endParaRPr kumimoji="0" lang="en-US" sz="14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Предложенная формулировка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I</a:t>
                      </a: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казано и/или</a:t>
                      </a: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целом согласовано, что данное лекарственное средство или процедура являются благоприятными, полезными, эффективными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Рекомендуется/показано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II</a:t>
                      </a: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меются противоречивые доказательства и/или</a:t>
                      </a: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схождение мнений по поводу полезности/эффективности данного лекарственного средства или процедуры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7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en-GB" sz="12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IIa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ес доказательства/мнения в пользу полезности/эффективности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Следует рассмотреть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7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IIb</a:t>
                      </a: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езность/эффективность в меньшей степени установлены с учетом имеющегося доказательства/мнения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Можно рассмотреть</a:t>
                      </a:r>
                      <a:endParaRPr kumimoji="0" lang="en-GB" sz="12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2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ласс</a:t>
                      </a:r>
                      <a:r>
                        <a:rPr kumimoji="0" lang="en-GB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III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казано и/или</a:t>
                      </a: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целом согласовано, что данное лекарственное средство или процедура не являются </a:t>
                      </a: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езными/эффективными</a:t>
                      </a:r>
                      <a:r>
                        <a:rPr lang="en-GB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 в некоторых случаях может быть вредной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D8DF20"/>
                        </a:buClr>
                        <a:buSzTx/>
                        <a:buFont typeface="Wingdings" pitchFamily="1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</a:rPr>
                        <a:t>Не рекомендуется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14" marB="4571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605A2051-9541-4EB6-81B7-E4773ACE4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2212" y="6575871"/>
            <a:ext cx="7875587" cy="26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25000"/>
              </a:lnSpc>
              <a:spcBef>
                <a:spcPct val="45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 Heart J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2016;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Respi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J 20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MS PGothic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263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E095459-2BFA-45A9-B20D-0F2F0C511116}"/>
              </a:ext>
            </a:extLst>
          </p:cNvPr>
          <p:cNvSpPr txBox="1">
            <a:spLocks/>
          </p:cNvSpPr>
          <p:nvPr/>
        </p:nvSpPr>
        <p:spPr bwMode="auto">
          <a:xfrm>
            <a:off x="634285" y="225314"/>
            <a:ext cx="10675866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Рекомендации по поддерживающей терапии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charset="0"/>
              <a:ea typeface="MS PGothic" charset="0"/>
            </a:endParaRP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9D18A075-3B03-4C89-9E5C-ABC1281DC2FC}"/>
              </a:ext>
            </a:extLst>
          </p:cNvPr>
          <p:cNvGraphicFramePr>
            <a:graphicFrameLocks/>
          </p:cNvGraphicFramePr>
          <p:nvPr/>
        </p:nvGraphicFramePr>
        <p:xfrm>
          <a:off x="661629" y="1206232"/>
          <a:ext cx="10550868" cy="4543815"/>
        </p:xfrm>
        <a:graphic>
          <a:graphicData uri="http://schemas.openxmlformats.org/drawingml/2006/table">
            <a:tbl>
              <a:tblPr firstRow="1" bandRow="1"/>
              <a:tblGrid>
                <a:gridCol w="7836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6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84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28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600" dirty="0"/>
                        <a:t>Положение</a:t>
                      </a:r>
                      <a:endParaRPr lang="en-US" sz="1600" dirty="0"/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600" dirty="0"/>
                        <a:t>Класс</a:t>
                      </a:r>
                      <a:endParaRPr lang="en-US" sz="1600" dirty="0"/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600" dirty="0"/>
                        <a:t>Уровень</a:t>
                      </a:r>
                      <a:endParaRPr lang="en-US" sz="1600" dirty="0"/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Терапия диуретиками рекомендована у пациентов с ЛАГ с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ризнаками ПЖ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недостаточности и задержки жидкости</a:t>
                      </a:r>
                      <a:endParaRPr kumimoji="0" lang="en-US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I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C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34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Непрерывная длительная терапия 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O</a:t>
                      </a:r>
                      <a:r>
                        <a:rPr kumimoji="0" lang="en-US" sz="1500" u="none" strike="noStrike" cap="none" normalizeH="0" baseline="-2500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оказана у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ациентов с ЛАГ и стойким уровнем давления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O</a:t>
                      </a:r>
                      <a:r>
                        <a:rPr kumimoji="0" lang="en-US" sz="1500" u="none" strike="noStrike" cap="none" normalizeH="0" baseline="-25000" dirty="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в артериальной крови 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&lt; 8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Па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(60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мм рт. ст.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)</a:t>
                      </a:r>
                      <a:endParaRPr kumimoji="0" lang="en-US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I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C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3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Вопрос о терапии с применением пероральных антикоагулянтов может быть рассмотрен у пациентов с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ИЛАГ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,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наследственной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ЛАГ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,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и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ЛАГ, связанной с применением </a:t>
                      </a:r>
                      <a:r>
                        <a:rPr kumimoji="0" lang="ru-RU" sz="15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анорексигенов</a:t>
                      </a:r>
                      <a:endParaRPr kumimoji="0" lang="en-US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err="1"/>
                        <a:t>IIb</a:t>
                      </a:r>
                      <a:endParaRPr lang="en-US" sz="1600" dirty="0"/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C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У пациентов с ЛАГ можно рассмотреть возможность коррекции анемии и/или обмена железа</a:t>
                      </a:r>
                      <a:endParaRPr kumimoji="0" lang="en-US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err="1"/>
                        <a:t>IIb</a:t>
                      </a:r>
                      <a:endParaRPr lang="en-US" sz="1600" dirty="0"/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C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042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рименение ингибиторов </a:t>
                      </a:r>
                      <a:r>
                        <a:rPr kumimoji="0" lang="ru-RU" sz="15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ангиотензин-превращающего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фермента, антагонистов рецепторов ангиотензина-2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, </a:t>
                      </a:r>
                      <a:r>
                        <a:rPr kumimoji="0" lang="ru-RU" sz="15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бета-блокаторов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и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ивабрадина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у пациентов с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ЛАГ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не рекомендуется, если только это не требуется в связи с наличием сопутствующих заболеваний 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(</a:t>
                      </a:r>
                      <a:r>
                        <a:rPr kumimoji="0" lang="ru-RU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а именно, высокого артериального давления, ишемической болезни сердца или левожелудочковой недостаточности</a:t>
                      </a:r>
                      <a:r>
                        <a:rPr kumimoji="0" lang="en-US" sz="15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)</a:t>
                      </a:r>
                      <a:endParaRPr kumimoji="0" lang="en-US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</a:endParaRP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III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/>
                        <a:t>C</a:t>
                      </a:r>
                    </a:p>
                  </a:txBody>
                  <a:tcPr marT="45704" marB="4570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7D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AAE380B-E7D3-4192-8F41-7AC7832E62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238" y="6530975"/>
            <a:ext cx="7875587" cy="26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25000"/>
              </a:lnSpc>
              <a:spcBef>
                <a:spcPct val="45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Heart J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2016;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Respi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J 20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MS PGothic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869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3F392BCB-31D8-4742-B45F-DFFD85B2429D}"/>
              </a:ext>
            </a:extLst>
          </p:cNvPr>
          <p:cNvCxnSpPr/>
          <p:nvPr/>
        </p:nvCxnSpPr>
        <p:spPr>
          <a:xfrm>
            <a:off x="6080385" y="5327806"/>
            <a:ext cx="0" cy="241809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4" name="Rectangle 2">
            <a:extLst>
              <a:ext uri="{FF2B5EF4-FFF2-40B4-BE49-F238E27FC236}">
                <a16:creationId xmlns:a16="http://schemas.microsoft.com/office/drawing/2014/main" id="{3CF7F075-19EA-44FB-860A-9C8EB7E6D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1211" y="289013"/>
            <a:ext cx="7772400" cy="43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Европейский алгоритм терапии ЛАГ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charset="0"/>
              <a:ea typeface="MS PGothic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602053E-B696-494E-9BDE-1EF4FBA38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838" y="6554257"/>
            <a:ext cx="7875587" cy="26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25000"/>
              </a:lnSpc>
              <a:spcBef>
                <a:spcPct val="45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Heart J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2016;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Respi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J 20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MS PGothic" charset="0"/>
              <a:cs typeface="Arial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7967C84-FD0D-4822-8E25-54D642EE4C0E}"/>
              </a:ext>
            </a:extLst>
          </p:cNvPr>
          <p:cNvCxnSpPr/>
          <p:nvPr/>
        </p:nvCxnSpPr>
        <p:spPr>
          <a:xfrm>
            <a:off x="7052909" y="1315038"/>
            <a:ext cx="68400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sp>
        <p:nvSpPr>
          <p:cNvPr id="7" name="Rounded Rectangle 34">
            <a:extLst>
              <a:ext uri="{FF2B5EF4-FFF2-40B4-BE49-F238E27FC236}">
                <a16:creationId xmlns:a16="http://schemas.microsoft.com/office/drawing/2014/main" id="{7631E7EF-6618-4413-B09E-F1E3C39F9C9E}"/>
              </a:ext>
            </a:extLst>
          </p:cNvPr>
          <p:cNvSpPr/>
          <p:nvPr/>
        </p:nvSpPr>
        <p:spPr>
          <a:xfrm>
            <a:off x="5183056" y="1725186"/>
            <a:ext cx="2306703" cy="605306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трый тест на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зореактивность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лько при ИЛАГ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ЛАГ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ЛАГ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ounded Rectangle 35">
            <a:extLst>
              <a:ext uri="{FF2B5EF4-FFF2-40B4-BE49-F238E27FC236}">
                <a16:creationId xmlns:a16="http://schemas.microsoft.com/office/drawing/2014/main" id="{14C8878F-8DAD-4465-ADC6-2FEFF1A1037C}"/>
              </a:ext>
            </a:extLst>
          </p:cNvPr>
          <p:cNvSpPr/>
          <p:nvPr/>
        </p:nvSpPr>
        <p:spPr>
          <a:xfrm>
            <a:off x="2482793" y="1749075"/>
            <a:ext cx="1271807" cy="504056"/>
          </a:xfrm>
          <a:prstGeom prst="roundRect">
            <a:avLst/>
          </a:prstGeom>
          <a:solidFill>
            <a:srgbClr val="F1BB78">
              <a:lumMod val="75000"/>
            </a:srgbClr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КК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2377993A-9C88-4172-AC44-C38409C35757}"/>
              </a:ext>
            </a:extLst>
          </p:cNvPr>
          <p:cNvSpPr/>
          <p:nvPr/>
        </p:nvSpPr>
        <p:spPr>
          <a:xfrm>
            <a:off x="2470742" y="772149"/>
            <a:ext cx="1665428" cy="795710"/>
          </a:xfrm>
          <a:prstGeom prst="flowChartConnector">
            <a:avLst/>
          </a:prstGeom>
          <a:gradFill>
            <a:gsLst>
              <a:gs pos="0">
                <a:srgbClr val="73410F">
                  <a:lumMod val="75000"/>
                </a:srgbClr>
              </a:gs>
              <a:gs pos="74000">
                <a:srgbClr val="73410F">
                  <a:lumMod val="60000"/>
                  <a:lumOff val="40000"/>
                </a:srgbClr>
              </a:gs>
              <a:gs pos="83000">
                <a:srgbClr val="73410F">
                  <a:lumMod val="60000"/>
                  <a:lumOff val="40000"/>
                </a:srgbClr>
              </a:gs>
              <a:gs pos="100000">
                <a:srgbClr val="73410F">
                  <a:lumMod val="60000"/>
                  <a:lumOff val="40000"/>
                </a:srgbClr>
              </a:gs>
            </a:gsLst>
            <a:lin ang="0" scaled="0"/>
          </a:gradFill>
          <a:ln w="25400" cap="flat" cmpd="sng" algn="ctr">
            <a:solidFill>
              <a:srgbClr val="73410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нее не получавшие терапию пациенты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ounded Rectangle 37">
            <a:extLst>
              <a:ext uri="{FF2B5EF4-FFF2-40B4-BE49-F238E27FC236}">
                <a16:creationId xmlns:a16="http://schemas.microsoft.com/office/drawing/2014/main" id="{949883EC-3C8B-4FA5-A192-DF8EB95BCF03}"/>
              </a:ext>
            </a:extLst>
          </p:cNvPr>
          <p:cNvSpPr/>
          <p:nvPr/>
        </p:nvSpPr>
        <p:spPr>
          <a:xfrm>
            <a:off x="8024816" y="987603"/>
            <a:ext cx="2173249" cy="286822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щие мероприятия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ounded Rectangle 38">
            <a:extLst>
              <a:ext uri="{FF2B5EF4-FFF2-40B4-BE49-F238E27FC236}">
                <a16:creationId xmlns:a16="http://schemas.microsoft.com/office/drawing/2014/main" id="{63E7E953-0512-4697-9A8E-BA4C57138C1D}"/>
              </a:ext>
            </a:extLst>
          </p:cNvPr>
          <p:cNvSpPr/>
          <p:nvPr/>
        </p:nvSpPr>
        <p:spPr>
          <a:xfrm>
            <a:off x="8024817" y="1427188"/>
            <a:ext cx="1944000" cy="2520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держивающая терапия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ounded Rectangle 39">
            <a:extLst>
              <a:ext uri="{FF2B5EF4-FFF2-40B4-BE49-F238E27FC236}">
                <a16:creationId xmlns:a16="http://schemas.microsoft.com/office/drawing/2014/main" id="{B1B4746F-F2F4-4875-9F21-708AB6B2CEF2}"/>
              </a:ext>
            </a:extLst>
          </p:cNvPr>
          <p:cNvSpPr/>
          <p:nvPr/>
        </p:nvSpPr>
        <p:spPr>
          <a:xfrm>
            <a:off x="5418024" y="2414817"/>
            <a:ext cx="1329368" cy="2520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вазо-реактивн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ounded Rectangle 40">
            <a:extLst>
              <a:ext uri="{FF2B5EF4-FFF2-40B4-BE49-F238E27FC236}">
                <a16:creationId xmlns:a16="http://schemas.microsoft.com/office/drawing/2014/main" id="{290007CA-9B72-4FB1-A772-93F1CC8F2617}"/>
              </a:ext>
            </a:extLst>
          </p:cNvPr>
          <p:cNvSpPr/>
          <p:nvPr/>
        </p:nvSpPr>
        <p:spPr>
          <a:xfrm>
            <a:off x="3771508" y="2868430"/>
            <a:ext cx="2043569" cy="273432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зкий/средний риск</a:t>
            </a:r>
            <a:b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К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-III)</a:t>
            </a:r>
            <a:endParaRPr kumimoji="0" lang="en-GB" sz="14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ounded Rectangle 41">
            <a:extLst>
              <a:ext uri="{FF2B5EF4-FFF2-40B4-BE49-F238E27FC236}">
                <a16:creationId xmlns:a16="http://schemas.microsoft.com/office/drawing/2014/main" id="{7D7136C5-C098-4310-8E41-DCF80C5FF966}"/>
              </a:ext>
            </a:extLst>
          </p:cNvPr>
          <p:cNvSpPr/>
          <p:nvPr/>
        </p:nvSpPr>
        <p:spPr>
          <a:xfrm>
            <a:off x="7265999" y="2868430"/>
            <a:ext cx="1944000" cy="2520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сокий риск</a:t>
            </a:r>
            <a:b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К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V)</a:t>
            </a:r>
          </a:p>
        </p:txBody>
      </p:sp>
      <p:sp>
        <p:nvSpPr>
          <p:cNvPr id="15" name="Rounded Rectangle 42">
            <a:extLst>
              <a:ext uri="{FF2B5EF4-FFF2-40B4-BE49-F238E27FC236}">
                <a16:creationId xmlns:a16="http://schemas.microsoft.com/office/drawing/2014/main" id="{6933FF4A-C65B-4D3D-BA81-57F65CCEBC5F}"/>
              </a:ext>
            </a:extLst>
          </p:cNvPr>
          <p:cNvSpPr/>
          <p:nvPr/>
        </p:nvSpPr>
        <p:spPr>
          <a:xfrm>
            <a:off x="3914111" y="2026502"/>
            <a:ext cx="1217400" cy="227616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36000" rIns="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зореактив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643284A5-9819-46A7-9EC0-4F38F357409F}"/>
              </a:ext>
            </a:extLst>
          </p:cNvPr>
          <p:cNvSpPr/>
          <p:nvPr/>
        </p:nvSpPr>
        <p:spPr>
          <a:xfrm>
            <a:off x="2393469" y="4221139"/>
            <a:ext cx="1622738" cy="684569"/>
          </a:xfrm>
          <a:prstGeom prst="flowChartConnector">
            <a:avLst/>
          </a:prstGeom>
          <a:gradFill>
            <a:gsLst>
              <a:gs pos="0">
                <a:srgbClr val="73410F">
                  <a:lumMod val="75000"/>
                </a:srgbClr>
              </a:gs>
              <a:gs pos="74000">
                <a:srgbClr val="73410F">
                  <a:lumMod val="60000"/>
                  <a:lumOff val="40000"/>
                </a:srgbClr>
              </a:gs>
              <a:gs pos="83000">
                <a:srgbClr val="73410F">
                  <a:lumMod val="60000"/>
                  <a:lumOff val="40000"/>
                </a:srgbClr>
              </a:gs>
              <a:gs pos="100000">
                <a:srgbClr val="73410F">
                  <a:lumMod val="60000"/>
                  <a:lumOff val="40000"/>
                </a:srgbClr>
              </a:gs>
            </a:gsLst>
            <a:lin ang="0" scaled="0"/>
          </a:gradFill>
          <a:ln w="25400" cap="flat" cmpd="sng" algn="ctr">
            <a:solidFill>
              <a:srgbClr val="73410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учавшие терапию пациенты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ounded Rectangle 44">
            <a:extLst>
              <a:ext uri="{FF2B5EF4-FFF2-40B4-BE49-F238E27FC236}">
                <a16:creationId xmlns:a16="http://schemas.microsoft.com/office/drawing/2014/main" id="{91D4F41F-3AF6-454E-AAC4-47072589863C}"/>
              </a:ext>
            </a:extLst>
          </p:cNvPr>
          <p:cNvSpPr/>
          <p:nvPr/>
        </p:nvSpPr>
        <p:spPr>
          <a:xfrm>
            <a:off x="4685755" y="4430735"/>
            <a:ext cx="2676414" cy="19444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36000" rIns="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остаточный клин. ответ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ounded Rectangle 45">
            <a:extLst>
              <a:ext uri="{FF2B5EF4-FFF2-40B4-BE49-F238E27FC236}">
                <a16:creationId xmlns:a16="http://schemas.microsoft.com/office/drawing/2014/main" id="{6CDEAAF5-E1CB-41E2-B06E-66AE9859C016}"/>
              </a:ext>
            </a:extLst>
          </p:cNvPr>
          <p:cNvSpPr/>
          <p:nvPr/>
        </p:nvSpPr>
        <p:spPr>
          <a:xfrm>
            <a:off x="7876559" y="4309134"/>
            <a:ext cx="1944000" cy="103389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36000" rIns="0" bIns="360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смотреть вопрос о направлении на трансплантацию легкого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ounded Rectangle 46">
            <a:extLst>
              <a:ext uri="{FF2B5EF4-FFF2-40B4-BE49-F238E27FC236}">
                <a16:creationId xmlns:a16="http://schemas.microsoft.com/office/drawing/2014/main" id="{5FF1FA67-C513-448C-B7C1-C5BFBE747034}"/>
              </a:ext>
            </a:extLst>
          </p:cNvPr>
          <p:cNvSpPr/>
          <p:nvPr/>
        </p:nvSpPr>
        <p:spPr>
          <a:xfrm>
            <a:off x="4144996" y="5010500"/>
            <a:ext cx="3766678" cy="382466"/>
          </a:xfrm>
          <a:prstGeom prst="roundRect">
            <a:avLst/>
          </a:prstGeom>
          <a:solidFill>
            <a:srgbClr val="F1BB78">
              <a:lumMod val="75000"/>
            </a:srgbClr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войная или тройная последовательная 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ир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терапия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Rounded Rectangle 47">
            <a:extLst>
              <a:ext uri="{FF2B5EF4-FFF2-40B4-BE49-F238E27FC236}">
                <a16:creationId xmlns:a16="http://schemas.microsoft.com/office/drawing/2014/main" id="{F356102D-99F5-4C37-9622-B89A7816A4B7}"/>
              </a:ext>
            </a:extLst>
          </p:cNvPr>
          <p:cNvSpPr/>
          <p:nvPr/>
        </p:nvSpPr>
        <p:spPr>
          <a:xfrm>
            <a:off x="4707020" y="5468010"/>
            <a:ext cx="2644516" cy="241686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36000" rIns="0" bIns="360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остаточный клин. ответ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ounded Rectangle 48">
            <a:extLst>
              <a:ext uri="{FF2B5EF4-FFF2-40B4-BE49-F238E27FC236}">
                <a16:creationId xmlns:a16="http://schemas.microsoft.com/office/drawing/2014/main" id="{23A7BB5D-A528-4815-8D76-9B60BB6A990A}"/>
              </a:ext>
            </a:extLst>
          </p:cNvPr>
          <p:cNvSpPr/>
          <p:nvPr/>
        </p:nvSpPr>
        <p:spPr>
          <a:xfrm>
            <a:off x="4183632" y="5952472"/>
            <a:ext cx="3734873" cy="352649"/>
          </a:xfrm>
          <a:prstGeom prst="roundRect">
            <a:avLst/>
          </a:prstGeom>
          <a:solidFill>
            <a:srgbClr val="F1BB78">
              <a:lumMod val="75000"/>
            </a:srgbClr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смотреть вопрос о включении в список ожидания на трансплантацию легкого</a:t>
            </a:r>
            <a:endParaRPr kumimoji="0" lang="en-GB" sz="14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20F6882-9F91-46E2-9DAA-6BE55A76FDF2}"/>
              </a:ext>
            </a:extLst>
          </p:cNvPr>
          <p:cNvCxnSpPr/>
          <p:nvPr/>
        </p:nvCxnSpPr>
        <p:spPr>
          <a:xfrm>
            <a:off x="4136169" y="1315831"/>
            <a:ext cx="864096" cy="0"/>
          </a:xfrm>
          <a:prstGeom prst="straightConnector1">
            <a:avLst/>
          </a:prstGeom>
          <a:noFill/>
          <a:ln w="28575" cap="flat" cmpd="sng" algn="ctr">
            <a:solidFill>
              <a:srgbClr val="73410F"/>
            </a:solidFill>
            <a:prstDash val="sysDash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1A2F456-E9DF-48D6-B58B-6CEB46DF8E40}"/>
              </a:ext>
            </a:extLst>
          </p:cNvPr>
          <p:cNvCxnSpPr/>
          <p:nvPr/>
        </p:nvCxnSpPr>
        <p:spPr>
          <a:xfrm>
            <a:off x="3871551" y="4568620"/>
            <a:ext cx="864096" cy="0"/>
          </a:xfrm>
          <a:prstGeom prst="straightConnector1">
            <a:avLst/>
          </a:prstGeom>
          <a:noFill/>
          <a:ln w="28575" cap="flat" cmpd="sng" algn="ctr">
            <a:solidFill>
              <a:srgbClr val="73410F">
                <a:lumMod val="75000"/>
              </a:srgbClr>
            </a:solidFill>
            <a:prstDash val="sysDash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5BED5E8-9D24-4A3E-A291-4E878C802F7D}"/>
              </a:ext>
            </a:extLst>
          </p:cNvPr>
          <p:cNvCxnSpPr/>
          <p:nvPr/>
        </p:nvCxnSpPr>
        <p:spPr>
          <a:xfrm>
            <a:off x="6983057" y="1315831"/>
            <a:ext cx="684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619471F-4AC2-4F98-9040-B5CAC1C30EB3}"/>
              </a:ext>
            </a:extLst>
          </p:cNvPr>
          <p:cNvCxnSpPr/>
          <p:nvPr/>
        </p:nvCxnSpPr>
        <p:spPr>
          <a:xfrm>
            <a:off x="7737308" y="1115073"/>
            <a:ext cx="216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4C689A4-F10F-46ED-BA8F-9649CEC4AE76}"/>
              </a:ext>
            </a:extLst>
          </p:cNvPr>
          <p:cNvCxnSpPr/>
          <p:nvPr/>
        </p:nvCxnSpPr>
        <p:spPr>
          <a:xfrm>
            <a:off x="7737308" y="1549057"/>
            <a:ext cx="216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54A9740-9B1D-4C27-A057-E26C956B44C5}"/>
              </a:ext>
            </a:extLst>
          </p:cNvPr>
          <p:cNvCxnSpPr/>
          <p:nvPr/>
        </p:nvCxnSpPr>
        <p:spPr>
          <a:xfrm flipV="1">
            <a:off x="7739689" y="1112693"/>
            <a:ext cx="0" cy="436364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D06F9DE0-3A23-410A-8679-C1E29DF48959}"/>
              </a:ext>
            </a:extLst>
          </p:cNvPr>
          <p:cNvCxnSpPr/>
          <p:nvPr/>
        </p:nvCxnSpPr>
        <p:spPr>
          <a:xfrm flipH="1">
            <a:off x="6075629" y="1510709"/>
            <a:ext cx="4756" cy="211781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29" name="Rounded Rectangle 56">
            <a:extLst>
              <a:ext uri="{FF2B5EF4-FFF2-40B4-BE49-F238E27FC236}">
                <a16:creationId xmlns:a16="http://schemas.microsoft.com/office/drawing/2014/main" id="{B83F9EAA-A081-42F5-BFC8-BBD946F0F614}"/>
              </a:ext>
            </a:extLst>
          </p:cNvPr>
          <p:cNvSpPr/>
          <p:nvPr/>
        </p:nvSpPr>
        <p:spPr>
          <a:xfrm>
            <a:off x="5183057" y="888059"/>
            <a:ext cx="1800000" cy="679800"/>
          </a:xfrm>
          <a:prstGeom prst="roundRect">
            <a:avLst/>
          </a:prstGeom>
          <a:solidFill>
            <a:srgbClr val="FFC000"/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АГ,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тверж-денная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спец. центре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8A8804F-CFC5-4D8E-BF85-86922B43C8C1}"/>
              </a:ext>
            </a:extLst>
          </p:cNvPr>
          <p:cNvCxnSpPr/>
          <p:nvPr/>
        </p:nvCxnSpPr>
        <p:spPr>
          <a:xfrm>
            <a:off x="6080385" y="2274694"/>
            <a:ext cx="0" cy="25106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B47A862-FD45-4480-B623-1262FEC06825}"/>
              </a:ext>
            </a:extLst>
          </p:cNvPr>
          <p:cNvCxnSpPr/>
          <p:nvPr/>
        </p:nvCxnSpPr>
        <p:spPr>
          <a:xfrm>
            <a:off x="8250593" y="3359904"/>
            <a:ext cx="0" cy="139559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2560E3E-0711-40D5-AC56-B61133A1853A}"/>
              </a:ext>
            </a:extLst>
          </p:cNvPr>
          <p:cNvCxnSpPr/>
          <p:nvPr/>
        </p:nvCxnSpPr>
        <p:spPr>
          <a:xfrm>
            <a:off x="6080385" y="4678334"/>
            <a:ext cx="5876" cy="318984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58CDCE1-5A1F-4411-BE15-E168673C0131}"/>
              </a:ext>
            </a:extLst>
          </p:cNvPr>
          <p:cNvCxnSpPr/>
          <p:nvPr/>
        </p:nvCxnSpPr>
        <p:spPr>
          <a:xfrm rot="16200000" flipH="1" flipV="1">
            <a:off x="5864385" y="4287696"/>
            <a:ext cx="432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94BEDDD-DA07-45F6-B45E-F8458EA751E9}"/>
              </a:ext>
            </a:extLst>
          </p:cNvPr>
          <p:cNvGrpSpPr/>
          <p:nvPr/>
        </p:nvGrpSpPr>
        <p:grpSpPr>
          <a:xfrm rot="16200000">
            <a:off x="5807996" y="1735890"/>
            <a:ext cx="234034" cy="4719481"/>
            <a:chOff x="5131259" y="410368"/>
            <a:chExt cx="144562" cy="451142"/>
          </a:xfrm>
        </p:grpSpPr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5A5EEB71-C262-457F-B249-BAF60C8EDD4E}"/>
                </a:ext>
              </a:extLst>
            </p:cNvPr>
            <p:cNvCxnSpPr/>
            <p:nvPr/>
          </p:nvCxnSpPr>
          <p:spPr>
            <a:xfrm>
              <a:off x="5131259" y="412829"/>
              <a:ext cx="144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tailEnd type="none"/>
            </a:ln>
            <a:effectLst/>
          </p:spPr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2CC76685-162E-4291-9B4C-564C0402E73C}"/>
                </a:ext>
              </a:extLst>
            </p:cNvPr>
            <p:cNvCxnSpPr/>
            <p:nvPr/>
          </p:nvCxnSpPr>
          <p:spPr>
            <a:xfrm>
              <a:off x="5131821" y="861510"/>
              <a:ext cx="144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tailEnd type="none"/>
            </a:ln>
            <a:effectLst/>
          </p:spPr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8EA27742-D70E-489A-B932-9916D284629C}"/>
                </a:ext>
              </a:extLst>
            </p:cNvPr>
            <p:cNvCxnSpPr/>
            <p:nvPr/>
          </p:nvCxnSpPr>
          <p:spPr>
            <a:xfrm rot="16200000">
              <a:off x="4908799" y="635773"/>
              <a:ext cx="450809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tailEnd type="none"/>
            </a:ln>
            <a:effectLst/>
          </p:spPr>
        </p:cxnSp>
      </p:grpSp>
      <p:sp>
        <p:nvSpPr>
          <p:cNvPr id="38" name="Rounded Rectangle 67">
            <a:extLst>
              <a:ext uri="{FF2B5EF4-FFF2-40B4-BE49-F238E27FC236}">
                <a16:creationId xmlns:a16="http://schemas.microsoft.com/office/drawing/2014/main" id="{3B475A15-15D3-4C3D-A97E-B139D188C561}"/>
              </a:ext>
            </a:extLst>
          </p:cNvPr>
          <p:cNvSpPr/>
          <p:nvPr/>
        </p:nvSpPr>
        <p:spPr>
          <a:xfrm>
            <a:off x="2818564" y="3504327"/>
            <a:ext cx="1548000" cy="544673"/>
          </a:xfrm>
          <a:prstGeom prst="roundRect">
            <a:avLst/>
          </a:prstGeom>
          <a:solidFill>
            <a:srgbClr val="F1BB78">
              <a:lumMod val="75000"/>
            </a:srgbClr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альная монотерапия</a:t>
            </a:r>
            <a:endParaRPr kumimoji="0" lang="en-GB" sz="14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ounded Rectangle 68">
            <a:extLst>
              <a:ext uri="{FF2B5EF4-FFF2-40B4-BE49-F238E27FC236}">
                <a16:creationId xmlns:a16="http://schemas.microsoft.com/office/drawing/2014/main" id="{B001B0C2-1008-453C-8A29-280FAD38007E}"/>
              </a:ext>
            </a:extLst>
          </p:cNvPr>
          <p:cNvSpPr/>
          <p:nvPr/>
        </p:nvSpPr>
        <p:spPr>
          <a:xfrm>
            <a:off x="7261320" y="3504327"/>
            <a:ext cx="2016000" cy="544673"/>
          </a:xfrm>
          <a:prstGeom prst="roundRect">
            <a:avLst/>
          </a:prstGeom>
          <a:solidFill>
            <a:srgbClr val="F1BB78">
              <a:lumMod val="75000"/>
            </a:srgbClr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альная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ир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, включая в/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аналоги простациклина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974B89C-667E-4DFC-9ED8-E3CBD45C6193}"/>
              </a:ext>
            </a:extLst>
          </p:cNvPr>
          <p:cNvCxnSpPr/>
          <p:nvPr/>
        </p:nvCxnSpPr>
        <p:spPr>
          <a:xfrm>
            <a:off x="7321259" y="4581398"/>
            <a:ext cx="468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A226FF1-006F-42CB-A58B-96156A8046FC}"/>
              </a:ext>
            </a:extLst>
          </p:cNvPr>
          <p:cNvCxnSpPr/>
          <p:nvPr/>
        </p:nvCxnSpPr>
        <p:spPr>
          <a:xfrm rot="16200000" flipH="1" flipV="1">
            <a:off x="8041535" y="2744851"/>
            <a:ext cx="396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46DF0DA1-5EBF-4C3E-94CE-AB7FF74FC6D8}"/>
              </a:ext>
            </a:extLst>
          </p:cNvPr>
          <p:cNvCxnSpPr/>
          <p:nvPr/>
        </p:nvCxnSpPr>
        <p:spPr>
          <a:xfrm rot="10800000" flipH="1" flipV="1">
            <a:off x="6736764" y="2562077"/>
            <a:ext cx="1511998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AFACCA1-82D7-406E-8BF9-CF87A706C0BD}"/>
              </a:ext>
            </a:extLst>
          </p:cNvPr>
          <p:cNvCxnSpPr/>
          <p:nvPr/>
        </p:nvCxnSpPr>
        <p:spPr>
          <a:xfrm rot="5400000" flipV="1">
            <a:off x="4546682" y="2755320"/>
            <a:ext cx="396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82DB929-A8EF-4BD1-9206-E951C6EF713B}"/>
              </a:ext>
            </a:extLst>
          </p:cNvPr>
          <p:cNvCxnSpPr/>
          <p:nvPr/>
        </p:nvCxnSpPr>
        <p:spPr>
          <a:xfrm flipH="1">
            <a:off x="4735926" y="2562077"/>
            <a:ext cx="717697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sp>
        <p:nvSpPr>
          <p:cNvPr id="45" name="Rounded Rectangle 74">
            <a:extLst>
              <a:ext uri="{FF2B5EF4-FFF2-40B4-BE49-F238E27FC236}">
                <a16:creationId xmlns:a16="http://schemas.microsoft.com/office/drawing/2014/main" id="{E583B922-500A-449E-A4D8-E44E497467ED}"/>
              </a:ext>
            </a:extLst>
          </p:cNvPr>
          <p:cNvSpPr/>
          <p:nvPr/>
        </p:nvSpPr>
        <p:spPr>
          <a:xfrm>
            <a:off x="5072275" y="3476713"/>
            <a:ext cx="2034862" cy="553790"/>
          </a:xfrm>
          <a:prstGeom prst="roundRect">
            <a:avLst/>
          </a:prstGeom>
          <a:solidFill>
            <a:srgbClr val="E99226"/>
          </a:solidFill>
          <a:ln w="25400" cap="flat" cmpd="sng" algn="ctr">
            <a:solidFill>
              <a:srgbClr val="F1BB78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альная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ир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оральная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терапия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2DA0E50-B7E3-417F-8D40-787A8F0CA534}"/>
              </a:ext>
            </a:extLst>
          </p:cNvPr>
          <p:cNvCxnSpPr>
            <a:endCxn id="8" idx="3"/>
          </p:cNvCxnSpPr>
          <p:nvPr/>
        </p:nvCxnSpPr>
        <p:spPr>
          <a:xfrm flipH="1" flipV="1">
            <a:off x="3754600" y="2001103"/>
            <a:ext cx="1426897" cy="8709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F16F74F-0799-4DD8-A2A7-084409AAD4D8}"/>
              </a:ext>
            </a:extLst>
          </p:cNvPr>
          <p:cNvCxnSpPr/>
          <p:nvPr/>
        </p:nvCxnSpPr>
        <p:spPr>
          <a:xfrm rot="10800000" flipH="1" flipV="1">
            <a:off x="5776981" y="3045362"/>
            <a:ext cx="324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1D327B8-86CF-40DC-9027-16006FC892DA}"/>
              </a:ext>
            </a:extLst>
          </p:cNvPr>
          <p:cNvCxnSpPr/>
          <p:nvPr/>
        </p:nvCxnSpPr>
        <p:spPr>
          <a:xfrm rot="16200000" flipH="1" flipV="1">
            <a:off x="3333933" y="3275956"/>
            <a:ext cx="468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0FB29B1-F747-4E30-8DBC-49C4D4BE2088}"/>
              </a:ext>
            </a:extLst>
          </p:cNvPr>
          <p:cNvCxnSpPr/>
          <p:nvPr/>
        </p:nvCxnSpPr>
        <p:spPr>
          <a:xfrm rot="10800000" flipH="1" flipV="1">
            <a:off x="3556942" y="3045362"/>
            <a:ext cx="324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non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6FCD269-F7B9-4252-AD06-F95ABB25A2CA}"/>
              </a:ext>
            </a:extLst>
          </p:cNvPr>
          <p:cNvCxnSpPr/>
          <p:nvPr/>
        </p:nvCxnSpPr>
        <p:spPr>
          <a:xfrm rot="16200000" flipH="1" flipV="1">
            <a:off x="5866981" y="3265463"/>
            <a:ext cx="468000" cy="0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84FC5E2-CE2C-4E5F-9016-CEFCC7E089C2}"/>
              </a:ext>
            </a:extLst>
          </p:cNvPr>
          <p:cNvCxnSpPr/>
          <p:nvPr/>
        </p:nvCxnSpPr>
        <p:spPr>
          <a:xfrm>
            <a:off x="6073297" y="5724755"/>
            <a:ext cx="0" cy="241809"/>
          </a:xfrm>
          <a:prstGeom prst="straightConnector1">
            <a:avLst/>
          </a:prstGeom>
          <a:noFill/>
          <a:ln w="2857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752234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94A88C1-1C94-4804-BDC1-94EBEB03DDD9}"/>
              </a:ext>
            </a:extLst>
          </p:cNvPr>
          <p:cNvSpPr txBox="1">
            <a:spLocks/>
          </p:cNvSpPr>
          <p:nvPr/>
        </p:nvSpPr>
        <p:spPr bwMode="auto">
          <a:xfrm>
            <a:off x="466858" y="282328"/>
            <a:ext cx="11402587" cy="1420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  <a:ea typeface="MS PGothic" pitchFamily="34" charset="-128"/>
                <a:cs typeface="MS PGothic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 Black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Рекомендации по эффективности начальной лекарственной комбинированной терапии</a:t>
            </a: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ЛАГ</a:t>
            </a: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в зависимости от</a:t>
            </a: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 </a:t>
            </a: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charset="0"/>
                <a:ea typeface="MS PGothic" charset="0"/>
              </a:rPr>
              <a:t>ФК по ВОЗ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charset="0"/>
              <a:ea typeface="MS PGothic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5967CD-4707-4E56-92A2-3CB2461ADE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238" y="6530975"/>
            <a:ext cx="7875587" cy="26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25000"/>
              </a:lnSpc>
              <a:spcBef>
                <a:spcPct val="45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Heart J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2016;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Galiè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et al.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u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</a:t>
            </a:r>
            <a:r>
              <a:rPr kumimoji="0" lang="fr-F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Respir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3410F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 J 201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3410F"/>
              </a:solidFill>
              <a:effectLst/>
              <a:uLnTx/>
              <a:uFillTx/>
              <a:latin typeface="Arial" charset="0"/>
              <a:ea typeface="MS PGothic" charset="0"/>
              <a:cs typeface="Arial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8A8EECB-1B92-4BB9-879A-D1C36413D895}"/>
              </a:ext>
            </a:extLst>
          </p:cNvPr>
          <p:cNvGraphicFramePr>
            <a:graphicFrameLocks noGrp="1"/>
          </p:cNvGraphicFramePr>
          <p:nvPr/>
        </p:nvGraphicFramePr>
        <p:xfrm>
          <a:off x="587800" y="1435720"/>
          <a:ext cx="10592633" cy="3986559"/>
        </p:xfrm>
        <a:graphic>
          <a:graphicData uri="http://schemas.openxmlformats.org/drawingml/2006/table">
            <a:tbl>
              <a:tblPr/>
              <a:tblGrid>
                <a:gridCol w="4779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89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266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Измерение/Лечение</a:t>
                      </a:r>
                      <a:endParaRPr kumimoji="0" lang="en-GB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111800" marR="1118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Класс</a:t>
                      </a:r>
                      <a:r>
                        <a:rPr lang="de-CH" sz="1700" b="1" baseline="30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й-</a:t>
                      </a:r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уровень доказательности</a:t>
                      </a:r>
                      <a:endParaRPr lang="de-CH" sz="1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905" marR="55905" marT="55883" marB="55883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4" marR="45724"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08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700" b="1" dirty="0">
                          <a:solidFill>
                            <a:schemeClr val="bg1"/>
                          </a:solidFill>
                        </a:rPr>
                        <a:t> II</a:t>
                      </a:r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700" b="1" dirty="0">
                        <a:solidFill>
                          <a:schemeClr val="bg1"/>
                        </a:solidFill>
                      </a:endParaRPr>
                    </a:p>
                  </a:txBody>
                  <a:tcPr marL="111800" marR="111800" marT="55900" marB="559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700" b="1" dirty="0">
                          <a:solidFill>
                            <a:schemeClr val="bg1"/>
                          </a:solidFill>
                        </a:rPr>
                        <a:t> III</a:t>
                      </a:r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700" b="1" dirty="0">
                        <a:solidFill>
                          <a:schemeClr val="bg1"/>
                        </a:solidFill>
                      </a:endParaRPr>
                    </a:p>
                  </a:txBody>
                  <a:tcPr marL="111800" marR="111800" marT="55900" marB="559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ФК</a:t>
                      </a:r>
                      <a:r>
                        <a:rPr lang="de-CH" sz="1700" b="1" dirty="0">
                          <a:solidFill>
                            <a:schemeClr val="bg1"/>
                          </a:solidFill>
                        </a:rPr>
                        <a:t> IV</a:t>
                      </a:r>
                      <a:r>
                        <a:rPr lang="ru-RU" sz="1700" b="1" dirty="0">
                          <a:solidFill>
                            <a:schemeClr val="bg1"/>
                          </a:solidFill>
                        </a:rPr>
                        <a:t> по ВОЗ</a:t>
                      </a:r>
                      <a:endParaRPr lang="de-CH" sz="1700" b="1" dirty="0">
                        <a:solidFill>
                          <a:schemeClr val="bg1"/>
                        </a:solidFill>
                      </a:endParaRPr>
                    </a:p>
                  </a:txBody>
                  <a:tcPr marL="111800" marR="111800" marT="55900" marB="559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7D1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2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Амбризентан 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+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тадалафил</a:t>
                      </a:r>
                      <a:r>
                        <a:rPr kumimoji="0" lang="en-GB" sz="15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*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B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B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03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ой АР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+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ФД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-5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a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a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+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силденафил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+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/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эпопростенол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-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-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 err="1"/>
                        <a:t>IIa</a:t>
                      </a:r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 err="1"/>
                        <a:t>IIa</a:t>
                      </a:r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71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Бозентан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+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/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эпопростенол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-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-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 err="1"/>
                        <a:t>IIa</a:t>
                      </a:r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 err="1"/>
                        <a:t>IIa</a:t>
                      </a:r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26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ой АР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ли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ФД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-5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+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п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/к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трепростинил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89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ой АР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ли 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иФДЭ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-5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+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другой в/</a:t>
                      </a:r>
                      <a:r>
                        <a:rPr kumimoji="0" lang="ru-RU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в</a:t>
                      </a: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аналог простациклина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1500" dirty="0"/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IIb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500" dirty="0"/>
                        <a:t>C</a:t>
                      </a:r>
                    </a:p>
                  </a:txBody>
                  <a:tcPr marL="55900" marR="559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1732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3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*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Время до клинического ухудшения как первичной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конечной точки в 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РКИ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,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или лекарственные средства,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показавшие снижение смертности от всех причин</a:t>
                      </a:r>
                      <a:r>
                        <a:rPr kumimoji="0" lang="en-GB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(</a:t>
                      </a:r>
                      <a: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определенное </a:t>
                      </a:r>
                      <a:r>
                        <a:rPr kumimoji="0" lang="ru-RU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проспективным</a:t>
                      </a:r>
                      <a: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 путем</a:t>
                      </a:r>
                      <a:r>
                        <a:rPr kumimoji="0" lang="en-GB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MS PGothic" charset="0"/>
                        </a:rPr>
                        <a:t>).</a:t>
                      </a:r>
                      <a:endParaRPr kumimoji="0" lang="en-GB" sz="1300" b="0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MS PGothic" charset="0"/>
                      </a:endParaRPr>
                    </a:p>
                  </a:txBody>
                  <a:tcPr marL="111800" marR="111800" marT="55900" marB="559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995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4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98</TotalTime>
  <Words>1068</Words>
  <Application>Microsoft Office PowerPoint</Application>
  <PresentationFormat>Widescreen</PresentationFormat>
  <Paragraphs>23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1" baseType="lpstr">
      <vt:lpstr>Arial</vt:lpstr>
      <vt:lpstr>Arial Black</vt:lpstr>
      <vt:lpstr>Calibri</vt:lpstr>
      <vt:lpstr>Calibri Light</vt:lpstr>
      <vt:lpstr>Cambria</vt:lpstr>
      <vt:lpstr>Museo Sans Cyrl 100</vt:lpstr>
      <vt:lpstr>Noto Sans Symbols</vt:lpstr>
      <vt:lpstr>Segoe UI</vt:lpstr>
      <vt:lpstr>Symbol</vt:lpstr>
      <vt:lpstr>Times New Roman</vt:lpstr>
      <vt:lpstr>Verdana</vt:lpstr>
      <vt:lpstr>Wingdings</vt:lpstr>
      <vt:lpstr>ACTELION</vt:lpstr>
      <vt:lpstr>2_BL5719_CF</vt:lpstr>
      <vt:lpstr>1_ACTELION</vt:lpstr>
      <vt:lpstr>2_ACTELION</vt:lpstr>
      <vt:lpstr>3_ACTELION</vt:lpstr>
      <vt:lpstr>4_ACTELION</vt:lpstr>
      <vt:lpstr>Тема Office</vt:lpstr>
      <vt:lpstr>Office Theme</vt:lpstr>
      <vt:lpstr>think-cell Slide</vt:lpstr>
      <vt:lpstr>PowerPoint Presentation</vt:lpstr>
      <vt:lpstr>Клинический протокол   диагностики и лечения. Легочная   гипертензия. Казахстан 2019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78</cp:revision>
  <dcterms:created xsi:type="dcterms:W3CDTF">2020-04-22T15:20:30Z</dcterms:created>
  <dcterms:modified xsi:type="dcterms:W3CDTF">2021-08-13T09:26:39Z</dcterms:modified>
</cp:coreProperties>
</file>